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85264510-1D4E-402A-8558-2D519C5566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14EBEC6C-7252-466A-B45C-605799437A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E99CCC6C-ECD1-48D5-82C2-0FAFAEB026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37</c:v>
                </c:pt>
                <c:pt idx="1">
                  <c:v>0.38</c:v>
                </c:pt>
                <c:pt idx="2">
                  <c:v>0.21</c:v>
                </c:pt>
                <c:pt idx="3">
                  <c:v>0.0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37%</c:v>
                  </c:pt>
                  <c:pt idx="1">
                    <c:v>38%</c:v>
                  </c:pt>
                  <c:pt idx="2">
                    <c:v>21%</c:v>
                  </c:pt>
                  <c:pt idx="3">
                    <c:v>4%</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81FCC27A-0BEB-499A-BC22-7D2842FF94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C3FA0FD1-4ED0-42D6-8FFA-3645F015D8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A57944AE-7CB4-404B-8A86-41C59BA709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4</c:v>
                </c:pt>
                <c:pt idx="1">
                  <c:v>0.32</c:v>
                </c:pt>
                <c:pt idx="2">
                  <c:v>0.47</c:v>
                </c:pt>
                <c:pt idx="3">
                  <c:v>0.1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4%</c:v>
                  </c:pt>
                  <c:pt idx="1">
                    <c:v>32%</c:v>
                  </c:pt>
                  <c:pt idx="2">
                    <c:v>47%</c:v>
                  </c:pt>
                  <c:pt idx="3">
                    <c:v>16%</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4</c:v>
                </c:pt>
                <c:pt idx="1">
                  <c:v>0.82</c:v>
                </c:pt>
                <c:pt idx="2">
                  <c:v>0.9</c:v>
                </c:pt>
                <c:pt idx="3">
                  <c:v>0.9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1CCEBD4E-A52E-4F8A-AFA3-B3CFF5902BF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52628DAA-8007-4DD2-8FD7-6BDEE8736CD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E75F3055-DA8E-4AF0-88FF-E61534B2536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6</c:v>
                </c:pt>
                <c:pt idx="1">
                  <c:v>0.18</c:v>
                </c:pt>
                <c:pt idx="2">
                  <c:v>0.1</c:v>
                </c:pt>
                <c:pt idx="3">
                  <c:v>0.0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74%</c:v>
                  </c:pt>
                  <c:pt idx="1">
                    <c:v>82%</c:v>
                  </c:pt>
                  <c:pt idx="2">
                    <c:v>90%</c:v>
                  </c:pt>
                  <c:pt idx="3">
                    <c:v>95%</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8</c:v>
                </c:pt>
                <c:pt idx="2">
                  <c:v>0.82</c:v>
                </c:pt>
                <c:pt idx="3">
                  <c:v>0.88</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726883E4-0F31-4176-AFD2-503E9785EC6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D260D80A-D8A2-44B0-AAE7-D1FFC0A089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41C7F17F-7858-4F0A-9373-12B2DBEAF81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358BB233-57E7-4927-AAFE-8975FD0A91E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6</c:v>
                </c:pt>
                <c:pt idx="1">
                  <c:v>0.2</c:v>
                </c:pt>
                <c:pt idx="2">
                  <c:v>0.18</c:v>
                </c:pt>
                <c:pt idx="3">
                  <c:v>0.12</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80%</c:v>
                  </c:pt>
                  <c:pt idx="2">
                    <c:v>82%</c:v>
                  </c:pt>
                  <c:pt idx="3">
                    <c:v>88%</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5</c:v>
                </c:pt>
                <c:pt idx="1">
                  <c:v>0.7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2A7CB68F-D045-4F15-8B00-C515EC18A0D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D96F6B49-AC95-4A6C-A7D8-16462D2B396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31343BFB-FBF2-4E1A-B188-A5BD4E07942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F9B1EBDF-432F-4C88-8B08-714E936CF49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5</c:v>
                </c:pt>
                <c:pt idx="1">
                  <c:v>0.2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79%</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2</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B3FE9F83-C53C-4FE3-AEF2-A26C5812C7B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3BC6A0DA-A8A7-4583-A6D7-F9D7CDCA7E3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8</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2%</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4%</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9</c:v>
                </c:pt>
                <c:pt idx="1">
                  <c:v>0.84</c:v>
                </c:pt>
                <c:pt idx="2">
                  <c:v>0.78</c:v>
                </c:pt>
                <c:pt idx="3">
                  <c:v>0.8</c:v>
                </c:pt>
                <c:pt idx="4">
                  <c:v>0.9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039665DA-40B6-4BF1-885F-566AA7030BF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A4327B8E-6AF0-4829-B7B3-E8900E8615E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8C758EB9-CAFE-49EA-A9E0-834B5CD8F2A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6AEA3568-4EC7-4DD3-BA83-2B9EACB763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1</c:v>
                </c:pt>
                <c:pt idx="1">
                  <c:v>0.16</c:v>
                </c:pt>
                <c:pt idx="2">
                  <c:v>0.22</c:v>
                </c:pt>
                <c:pt idx="3">
                  <c:v>0.2</c:v>
                </c:pt>
                <c:pt idx="4">
                  <c:v>0.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84%</c:v>
                  </c:pt>
                  <c:pt idx="2">
                    <c:v>78%</c:v>
                  </c:pt>
                  <c:pt idx="3">
                    <c:v>80%</c:v>
                  </c:pt>
                  <c:pt idx="4">
                    <c:v>92%</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6</c:v>
                </c:pt>
                <c:pt idx="1">
                  <c:v>0.81</c:v>
                </c:pt>
                <c:pt idx="2">
                  <c:v>0.87</c:v>
                </c:pt>
                <c:pt idx="3">
                  <c:v>0.8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C71A4A89-F830-47AA-9D3C-88D9770C0E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AECC2465-E57D-48FC-9C07-11A9B2BCF6C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69EBA6A0-722A-47E3-AC41-545AE55A17B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4000000000000001</c:v>
                </c:pt>
                <c:pt idx="1">
                  <c:v>0.19</c:v>
                </c:pt>
                <c:pt idx="2">
                  <c:v>0.13</c:v>
                </c:pt>
                <c:pt idx="3">
                  <c:v>0.1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6%</c:v>
                  </c:pt>
                  <c:pt idx="1">
                    <c:v>81%</c:v>
                  </c:pt>
                  <c:pt idx="2">
                    <c:v>87%</c:v>
                  </c:pt>
                  <c:pt idx="3">
                    <c:v>81%</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8</c:v>
                </c:pt>
                <c:pt idx="3">
                  <c:v>0.93</c:v>
                </c:pt>
                <c:pt idx="4">
                  <c:v>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452368AE-7904-46C1-9CC8-427E772B41D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CE5FAD25-FB91-4C41-9316-E30DF8DC5A6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7517B96F-67EE-4FA4-85ED-6BB55C836DF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5DC882D8-82D7-4E95-B91E-FB13B74A643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c:v>
                </c:pt>
                <c:pt idx="2">
                  <c:v>0.2</c:v>
                </c:pt>
                <c:pt idx="3">
                  <c:v>7.0000000000000007E-2</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c:v>
                  </c:pt>
                  <c:pt idx="2">
                    <c:v>80%</c:v>
                  </c:pt>
                  <c:pt idx="3">
                    <c:v>93%</c:v>
                  </c:pt>
                  <c:pt idx="4">
                    <c:v>100%</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5</c:v>
                </c:pt>
                <c:pt idx="1">
                  <c:v>0.84</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036113DA-9AF9-4CA6-96FC-0AFC80F39D4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B065CCE6-9351-44D7-92E1-3659F1C52B2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E0BD4BE3-7D33-4402-BE73-3CEC156E8FD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A9634C60-986C-412E-9D6C-0D9475EADC8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5</c:v>
                </c:pt>
                <c:pt idx="1">
                  <c:v>0.1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84%</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4</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C6ABB7D3-196F-41A0-A391-96D6C7BBAFE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7BA486C1-F59B-4A44-99AB-779A4895881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4%</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6</c:v>
                </c:pt>
                <c:pt idx="1">
                  <c:v>83</c:v>
                </c:pt>
                <c:pt idx="2">
                  <c:v>2</c:v>
                </c:pt>
                <c:pt idx="3">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9</c:v>
                </c:pt>
                <c:pt idx="1">
                  <c:v>10</c:v>
                </c:pt>
                <c:pt idx="2">
                  <c:v>1</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CC51DC05-307E-4015-90DA-A3D3973F15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0AEBB36D-8E24-466C-B101-0227366969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2D98923D-887A-4D99-A35B-4E35A6290E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D1F9162F-5006-441D-82B4-112B20EF1D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46B4C6E7-80A2-44DD-A0BB-C1E667B1B8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EAC03EE6-08DB-4895-B201-033D594144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3</c:v>
                </c:pt>
                <c:pt idx="1">
                  <c:v>7</c:v>
                </c:pt>
                <c:pt idx="2">
                  <c:v>4</c:v>
                </c:pt>
                <c:pt idx="3">
                  <c:v>2</c:v>
                </c:pt>
                <c:pt idx="4">
                  <c:v>3</c:v>
                </c:pt>
                <c:pt idx="5">
                  <c:v>2</c:v>
                </c:pt>
                <c:pt idx="6">
                  <c:v>3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3%</c:v>
                  </c:pt>
                  <c:pt idx="1">
                    <c:v>7%</c:v>
                  </c:pt>
                  <c:pt idx="2">
                    <c:v>4%</c:v>
                  </c:pt>
                  <c:pt idx="3">
                    <c:v>2%</c:v>
                  </c:pt>
                  <c:pt idx="4">
                    <c:v>3%</c:v>
                  </c:pt>
                  <c:pt idx="5">
                    <c:v>2%</c:v>
                  </c:pt>
                  <c:pt idx="6">
                    <c:v>36%</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DBD6AD37-8546-42DA-BC29-5E89CB895B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3A4E3A5B-A957-440E-8F0B-ADC10F805B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53DF434F-6CC7-4907-93FC-C61F7CE27E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D87220DE-3796-4AAF-805A-49F435E386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6655DDFE-3480-4929-927D-16EB9058F1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198C04D0-482A-42B3-911C-AC1B94743E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1</c:v>
                </c:pt>
                <c:pt idx="1">
                  <c:v>6</c:v>
                </c:pt>
                <c:pt idx="2">
                  <c:v>4</c:v>
                </c:pt>
                <c:pt idx="3">
                  <c:v>5</c:v>
                </c:pt>
                <c:pt idx="4">
                  <c:v>13</c:v>
                </c:pt>
                <c:pt idx="5">
                  <c:v>5</c:v>
                </c:pt>
                <c:pt idx="6">
                  <c:v>3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1%</c:v>
                  </c:pt>
                  <c:pt idx="1">
                    <c:v>6%</c:v>
                  </c:pt>
                  <c:pt idx="2">
                    <c:v>4%</c:v>
                  </c:pt>
                  <c:pt idx="3">
                    <c:v>5%</c:v>
                  </c:pt>
                  <c:pt idx="4">
                    <c:v>13%</c:v>
                  </c:pt>
                  <c:pt idx="5">
                    <c:v>5%</c:v>
                  </c:pt>
                  <c:pt idx="6">
                    <c:v>30%</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B9D2A01E-1ACA-4987-9B1A-8BDA7E911A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D0A3D999-73C8-4D31-B0FF-70846A3F01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D7E57298-F0B0-4CA0-90D5-C2B4F79452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7A8D03EC-D7A7-4FBF-972E-950EE12A8F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205F5EA5-37BF-47C5-BC14-F021FF701D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09AB1954-CCEE-40DF-B535-F3E09F71B8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2D5F7568-F14D-48E5-8511-531AE7FBA8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7FF681FB-A5C4-4553-A81C-111794295F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E137A76D-21E8-44D3-A04D-D9D4594300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D4E1B952-A053-4573-A58A-4C8628A246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999999999999995</c:v>
                </c:pt>
                <c:pt idx="1">
                  <c:v>0.42</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7%</c:v>
                  </c:pt>
                  <c:pt idx="1">
                    <c:v>42%</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3861AF98-789B-4443-B768-9D121FBA0B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BA1B287D-AC31-4B66-8EED-1A33E812B8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9542FC14-93C4-45B4-AC3C-908CF58F0E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AE650064-5C4D-498C-88A2-29D23D1A7D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6</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4%</c:v>
                  </c:pt>
                  <c:pt idx="1">
                    <c:v>46%</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A32937D0-0332-4384-9AE7-DE47341A07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1B896211-6850-40FB-9679-A55FB827DE5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3</c:v>
                </c:pt>
                <c:pt idx="1">
                  <c:v>7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3%</c:v>
                  </c:pt>
                  <c:pt idx="1">
                    <c:v>77%</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90CE13A4-A565-415D-A2F9-46A4F9CE42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p</c:v>
                  </c:pt>
                  <c:pt idx="1">
                    <c:v>93%q</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17798486-6C75-44BC-8986-77AE2FBDC4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2CBBC442-0861-4111-84C3-5438D9DAD5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7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r>
                      <a:rPr lang="en-GB"/>
                      <a:t>8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3EB-456C-B74D-581899DAC290}"/>
                </c:ext>
              </c:extLst>
            </c:dLbl>
            <c:dLbl>
              <c:idx val="2"/>
              <c:tx>
                <c:rich>
                  <a:bodyPr/>
                  <a:lstStyle/>
                  <a:p>
                    <a:r>
                      <a:rPr lang="en-GB"/>
                      <a:t>7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fld id="{B33C2B29-8665-4110-A615-51B0FA89E3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F7EDC28F-DF9D-4225-BA9E-A5555F25DB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r>
                      <a:rPr lang="en-GB"/>
                      <a:t>2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B3480C6D-A96E-4B1F-924E-D870FFDA848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5</c:v>
                </c:pt>
                <c:pt idx="1">
                  <c:v>87</c:v>
                </c:pt>
                <c:pt idx="2">
                  <c:v>75</c:v>
                </c:pt>
                <c:pt idx="3">
                  <c:v>72</c:v>
                </c:pt>
                <c:pt idx="4">
                  <c:v>89</c:v>
                </c:pt>
                <c:pt idx="5">
                  <c:v>26</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75%q</c:v>
                  </c:pt>
                  <c:pt idx="1">
                    <c:v>87%q</c:v>
                  </c:pt>
                  <c:pt idx="2">
                    <c:v>75%q</c:v>
                  </c:pt>
                  <c:pt idx="3">
                    <c:v>72%</c:v>
                  </c:pt>
                  <c:pt idx="4">
                    <c:v>89%</c:v>
                  </c:pt>
                  <c:pt idx="5">
                    <c:v>26%q</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CDC5F29B-8E39-4B56-A7FC-143C338293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7A569C3C-2D75-4824-9652-510ACC1515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B687299D-8E31-4EA1-8FB1-B98A0EB1D3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60F51FCA-1CBE-4E04-9680-DE8E12E92D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5D0AB3A6-C2D5-46F3-89F6-6D3F021401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6081FA4E-54AD-40F1-89C8-6F236A0F21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331D1E38-5FDC-4E7B-AF72-BA6B67399B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9</c:v>
                </c:pt>
                <c:pt idx="1">
                  <c:v>88</c:v>
                </c:pt>
                <c:pt idx="2">
                  <c:v>70</c:v>
                </c:pt>
                <c:pt idx="3">
                  <c:v>71</c:v>
                </c:pt>
                <c:pt idx="4">
                  <c:v>86</c:v>
                </c:pt>
                <c:pt idx="5">
                  <c:v>38</c:v>
                </c:pt>
                <c:pt idx="6">
                  <c:v>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79%</c:v>
                  </c:pt>
                  <c:pt idx="1">
                    <c:v>88%</c:v>
                  </c:pt>
                  <c:pt idx="2">
                    <c:v>70%</c:v>
                  </c:pt>
                  <c:pt idx="3">
                    <c:v>71%</c:v>
                  </c:pt>
                  <c:pt idx="4">
                    <c:v>86%</c:v>
                  </c:pt>
                  <c:pt idx="5">
                    <c:v>38%</c:v>
                  </c:pt>
                  <c:pt idx="6">
                    <c:v>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6</c:v>
                </c:pt>
                <c:pt idx="1">
                  <c:v>34</c:v>
                </c:pt>
                <c:pt idx="2">
                  <c:v>16</c:v>
                </c:pt>
                <c:pt idx="3">
                  <c:v>2</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1</c:v>
                </c:pt>
                <c:pt idx="1">
                  <c:v>35</c:v>
                </c:pt>
                <c:pt idx="2">
                  <c:v>17</c:v>
                </c:pt>
                <c:pt idx="3">
                  <c:v>5</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77622CD5-FFD6-4C6C-B0D0-ED597FD945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FBFB414B-7B58-4C5F-818F-58FA3412F4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7</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7%</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2DDC6D60-BC6F-4415-9108-6E00D31FEF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42C69C40-DB9F-49DB-A9CB-6A949BE529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6</c:v>
                </c:pt>
                <c:pt idx="1">
                  <c:v>0.02</c:v>
                </c:pt>
                <c:pt idx="2">
                  <c:v>0.0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6%</c:v>
                  </c:pt>
                  <c:pt idx="1">
                    <c:v>2%</c:v>
                  </c:pt>
                  <c:pt idx="2">
                    <c:v>2%</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13</c:v>
                </c:pt>
                <c:pt idx="1">
                  <c:v>18</c:v>
                </c:pt>
                <c:pt idx="2">
                  <c:v>6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10</c:v>
                </c:pt>
                <c:pt idx="1">
                  <c:v>39</c:v>
                </c:pt>
                <c:pt idx="2">
                  <c:v>5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21</c:v>
                </c:pt>
                <c:pt idx="1">
                  <c:v>17</c:v>
                </c:pt>
                <c:pt idx="2">
                  <c:v>28</c:v>
                </c:pt>
                <c:pt idx="3">
                  <c:v>15</c:v>
                </c:pt>
                <c:pt idx="4">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2</c:v>
                </c:pt>
                <c:pt idx="1">
                  <c:v>21</c:v>
                </c:pt>
                <c:pt idx="2">
                  <c:v>20</c:v>
                </c:pt>
                <c:pt idx="3">
                  <c:v>18</c:v>
                </c:pt>
                <c:pt idx="4">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248</c:v>
                </c:pt>
                <c:pt idx="1">
                  <c:v>0.377</c:v>
                </c:pt>
                <c:pt idx="2">
                  <c:v>0.217</c:v>
                </c:pt>
                <c:pt idx="3">
                  <c:v>0.10199999999999999</c:v>
                </c:pt>
                <c:pt idx="4">
                  <c:v>5.6000000000000001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245</c:v>
                </c:pt>
                <c:pt idx="1">
                  <c:v>0.45700000000000002</c:v>
                </c:pt>
                <c:pt idx="2">
                  <c:v>0.17399999999999999</c:v>
                </c:pt>
                <c:pt idx="3">
                  <c:v>8.6999999999999994E-2</c:v>
                </c:pt>
                <c:pt idx="4">
                  <c:v>3.7999999999999999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17</c:v>
                </c:pt>
                <c:pt idx="2">
                  <c:v>25</c:v>
                </c:pt>
                <c:pt idx="3">
                  <c:v>17</c:v>
                </c:pt>
                <c:pt idx="4">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20</c:v>
                </c:pt>
                <c:pt idx="2">
                  <c:v>19</c:v>
                </c:pt>
                <c:pt idx="3">
                  <c:v>20</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24</c:v>
                </c:pt>
                <c:pt idx="1">
                  <c:v>25</c:v>
                </c:pt>
                <c:pt idx="2">
                  <c:v>21</c:v>
                </c:pt>
                <c:pt idx="3">
                  <c:v>15</c:v>
                </c:pt>
                <c:pt idx="4">
                  <c:v>1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5</c:v>
                </c:pt>
                <c:pt idx="1">
                  <c:v>29</c:v>
                </c:pt>
                <c:pt idx="2">
                  <c:v>18</c:v>
                </c:pt>
                <c:pt idx="3">
                  <c:v>10</c:v>
                </c:pt>
                <c:pt idx="4">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8699EE9C-6BB6-42EC-A02C-674844470F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DA625CEE-208D-4715-8F78-552691281A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F26870CF-E90C-41A8-8E93-5539CB3F8F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4437C254-3ABD-4928-A73E-4BD207E445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6</c:v>
                </c:pt>
                <c:pt idx="1">
                  <c:v>0.04</c:v>
                </c:pt>
                <c:pt idx="2">
                  <c:v>0.18</c:v>
                </c:pt>
                <c:pt idx="3">
                  <c:v>0.13</c:v>
                </c:pt>
                <c:pt idx="4">
                  <c:v>0.0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60%</c:v>
                  </c:pt>
                  <c:pt idx="1">
                    <c:v>4%</c:v>
                  </c:pt>
                  <c:pt idx="2">
                    <c:v>18%</c:v>
                  </c:pt>
                  <c:pt idx="3">
                    <c:v>13%</c:v>
                  </c:pt>
                  <c:pt idx="4">
                    <c:v>3%</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E3DEAC23-02DA-4571-893C-C9B1FBE342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1B8E7159-A0D8-4728-9B37-97A87A7D101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149F7DC8-8D72-4C9C-ADB8-428F45CCA4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7FB4B01B-CD78-478E-AE30-234572D212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8999999999999998</c:v>
                </c:pt>
                <c:pt idx="1">
                  <c:v>0.02</c:v>
                </c:pt>
                <c:pt idx="2">
                  <c:v>0.48</c:v>
                </c:pt>
                <c:pt idx="3">
                  <c:v>0.18</c:v>
                </c:pt>
                <c:pt idx="4">
                  <c:v>0.0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29%</c:v>
                  </c:pt>
                  <c:pt idx="1">
                    <c:v>2%</c:v>
                  </c:pt>
                  <c:pt idx="2">
                    <c:v>48%</c:v>
                  </c:pt>
                  <c:pt idx="3">
                    <c:v>18%</c:v>
                  </c:pt>
                  <c:pt idx="4">
                    <c:v>2%</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13</c:v>
                </c:pt>
                <c:pt idx="2">
                  <c:v>33</c:v>
                </c:pt>
                <c:pt idx="3">
                  <c:v>16</c:v>
                </c:pt>
                <c:pt idx="4">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0</c:v>
                </c:pt>
                <c:pt idx="1">
                  <c:v>18</c:v>
                </c:pt>
                <c:pt idx="2">
                  <c:v>23</c:v>
                </c:pt>
                <c:pt idx="3">
                  <c:v>20</c:v>
                </c:pt>
                <c:pt idx="4">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5</c:v>
                </c:pt>
                <c:pt idx="1">
                  <c:v>31</c:v>
                </c:pt>
                <c:pt idx="2">
                  <c:v>37</c:v>
                </c:pt>
                <c:pt idx="3">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1</c:v>
                </c:pt>
                <c:pt idx="1">
                  <c:v>45</c:v>
                </c:pt>
                <c:pt idx="2">
                  <c:v>27</c:v>
                </c:pt>
                <c:pt idx="3">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27</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5</c:v>
                </c:pt>
                <c:pt idx="1">
                  <c:v>34</c:v>
                </c:pt>
                <c:pt idx="2">
                  <c:v>13</c:v>
                </c:pt>
                <c:pt idx="3">
                  <c:v>4</c:v>
                </c:pt>
                <c:pt idx="4">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5</c:v>
                </c:pt>
                <c:pt idx="1">
                  <c:v>25</c:v>
                </c:pt>
                <c:pt idx="2">
                  <c:v>7</c:v>
                </c:pt>
                <c:pt idx="3">
                  <c:v>2</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1</c:v>
                </c:pt>
                <c:pt idx="2">
                  <c:v>16</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8</c:v>
                </c:pt>
                <c:pt idx="1">
                  <c:v>53</c:v>
                </c:pt>
                <c:pt idx="2">
                  <c:v>18</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2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1BFFB3C9-F91A-40A5-A4A2-649EF92317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2%</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F863-4EF3-8628-514246B96513}"/>
                </c:ext>
              </c:extLst>
            </c:dLbl>
            <c:dLbl>
              <c:idx val="1"/>
              <c:tx>
                <c:rich>
                  <a:bodyPr/>
                  <a:lstStyle/>
                  <a:p>
                    <a:r>
                      <a:rPr lang="en-GB"/>
                      <a:t>2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2</c:v>
                </c:pt>
                <c:pt idx="1">
                  <c:v>2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2%q</c:v>
                  </c:pt>
                  <c:pt idx="1">
                    <c:v>28%p</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6DE73443-04A2-4F06-B1C1-4422D0F6F3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3%</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2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3%q</c:v>
                  </c:pt>
                  <c:pt idx="1">
                    <c:v>27%p</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C649743A-079B-4146-9839-AFEEF19829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FDA2EC4B-0758-44B3-9D38-4B6B736084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6</c:v>
                </c:pt>
                <c:pt idx="1">
                  <c:v>4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6%</c:v>
                  </c:pt>
                  <c:pt idx="1">
                    <c:v>44%</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97AA2232-EB27-4FCC-B3C3-BDC9468026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9%</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3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9</c:v>
                </c:pt>
                <c:pt idx="1">
                  <c:v>3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9%q</c:v>
                  </c:pt>
                  <c:pt idx="1">
                    <c:v>31%p</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ADAB16EF-1657-4223-99EA-C9F651CF4C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7076B84A-EBA9-4B19-A202-3D1186C64B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6</c:v>
                </c:pt>
                <c:pt idx="1">
                  <c:v>6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6%</c:v>
                  </c:pt>
                  <c:pt idx="1">
                    <c:v>64%</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34C4DE9D-EC74-4BA0-AEFF-DA1B423ACC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7617F10E-C0B3-4AF4-8833-21B99C5511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0</c:v>
                </c:pt>
                <c:pt idx="1">
                  <c:v>6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0%</c:v>
                  </c:pt>
                  <c:pt idx="1">
                    <c:v>60%</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9917377E-C556-4927-9C12-D22B262F84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39%</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9E81-4665-B9F1-19FE31D5928C}"/>
                </c:ext>
              </c:extLst>
            </c:dLbl>
            <c:dLbl>
              <c:idx val="1"/>
              <c:tx>
                <c:rich>
                  <a:bodyPr/>
                  <a:lstStyle/>
                  <a:p>
                    <a:r>
                      <a:rPr lang="en-GB"/>
                      <a:t>6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9</c:v>
                </c:pt>
                <c:pt idx="1">
                  <c:v>6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9%q</c:v>
                  </c:pt>
                  <c:pt idx="1">
                    <c:v>61%p</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4E0937AC-F70A-42EE-BE7A-BF78CBE7A4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542E843E-39B5-4FC2-942A-538AF6F8F2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D8291F82-9A10-4CCB-BE71-EEB79CA385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69%</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F3E-4C45-9DAC-B2929C4B2C23}"/>
                </c:ext>
              </c:extLst>
            </c:dLbl>
            <c:dLbl>
              <c:idx val="1"/>
              <c:tx>
                <c:rich>
                  <a:bodyPr/>
                  <a:lstStyle/>
                  <a:p>
                    <a:r>
                      <a:rPr lang="en-GB"/>
                      <a:t>3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9</c:v>
                </c:pt>
                <c:pt idx="1">
                  <c:v>3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9%q</c:v>
                  </c:pt>
                  <c:pt idx="1">
                    <c:v>31%p</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E40CAC70-AC92-4F25-BB14-8AA403EDBD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3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4%q</c:v>
                  </c:pt>
                  <c:pt idx="1">
                    <c:v>36%p</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92A8D937-13D8-45C8-826D-AA2C916089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1%</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4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1%q</c:v>
                  </c:pt>
                  <c:pt idx="1">
                    <c:v>49%p</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4A6606C5-CAED-4804-8D7C-FE15B471DB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1%</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C56-4EA4-9136-CE48FDDBE16D}"/>
                </c:ext>
              </c:extLst>
            </c:dLbl>
            <c:dLbl>
              <c:idx val="1"/>
              <c:tx>
                <c:rich>
                  <a:bodyPr/>
                  <a:lstStyle/>
                  <a:p>
                    <a:r>
                      <a:rPr lang="en-GB"/>
                      <a:t>5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1%q</c:v>
                  </c:pt>
                  <c:pt idx="1">
                    <c:v>59%p</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1BCC90B0-9D00-4C89-9A51-01D010280B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6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3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8</c:v>
                </c:pt>
                <c:pt idx="1">
                  <c:v>3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8%q</c:v>
                  </c:pt>
                  <c:pt idx="1">
                    <c:v>32%p</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2CFC4603-D7FE-4D46-84B6-FF3F8D2B37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1A96-46F4-8DED-A8EE18A79494}"/>
                </c:ext>
              </c:extLst>
            </c:dLbl>
            <c:dLbl>
              <c:idx val="1"/>
              <c:tx>
                <c:rich>
                  <a:bodyPr/>
                  <a:lstStyle/>
                  <a:p>
                    <a:r>
                      <a:rPr lang="en-GB"/>
                      <a:t>3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4%q</c:v>
                  </c:pt>
                  <c:pt idx="1">
                    <c:v>36%p</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9</c:v>
                </c:pt>
                <c:pt idx="1">
                  <c:v>28</c:v>
                </c:pt>
                <c:pt idx="2">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6</c:v>
                </c:pt>
                <c:pt idx="1">
                  <c:v>44</c:v>
                </c:pt>
                <c:pt idx="2">
                  <c:v>1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109E9A6C-456A-4CE8-AEED-62EC8FC703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0FD96700-A33E-4B6B-9F35-A1227D6AE5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532819E3-3446-4814-BF53-BFFA909C4C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A10D9345-B5EC-4A2A-9EFF-4EAB0146CE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650B0A8F-37EA-491D-8801-03FC4D13AA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BDC719AE-69EC-41C8-B6AF-6F6582BCC8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8</c:v>
                </c:pt>
                <c:pt idx="1">
                  <c:v>5</c:v>
                </c:pt>
                <c:pt idx="2">
                  <c:v>59</c:v>
                </c:pt>
                <c:pt idx="3">
                  <c:v>26</c:v>
                </c:pt>
                <c:pt idx="4">
                  <c:v>17</c:v>
                </c:pt>
                <c:pt idx="5">
                  <c:v>18</c:v>
                </c:pt>
                <c:pt idx="6">
                  <c:v>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8%</c:v>
                  </c:pt>
                  <c:pt idx="1">
                    <c:v>5%</c:v>
                  </c:pt>
                  <c:pt idx="2">
                    <c:v>59%</c:v>
                  </c:pt>
                  <c:pt idx="3">
                    <c:v>26%</c:v>
                  </c:pt>
                  <c:pt idx="4">
                    <c:v>17%</c:v>
                  </c:pt>
                  <c:pt idx="5">
                    <c:v>18%</c:v>
                  </c:pt>
                  <c:pt idx="6">
                    <c:v>6%</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3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0-121A-46C7-99A3-C7EC76CE57AC}"/>
                </c:ext>
              </c:extLst>
            </c:dLbl>
            <c:dLbl>
              <c:idx val="1"/>
              <c:tx>
                <c:rich>
                  <a:bodyPr/>
                  <a:lstStyle/>
                  <a:p>
                    <a:fld id="{9579977F-930D-481F-9380-0092F9AF1E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68A94B2C-D2F8-4406-B38D-F2A1CFB629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3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42804D98-526F-430E-89C0-1418FDCB9D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7A5F2189-E000-494B-8BED-49027C848F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B3249BBF-E6F2-4D15-BF78-3549247375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6</c:v>
                </c:pt>
                <c:pt idx="1">
                  <c:v>16</c:v>
                </c:pt>
                <c:pt idx="2">
                  <c:v>39</c:v>
                </c:pt>
                <c:pt idx="3">
                  <c:v>30</c:v>
                </c:pt>
                <c:pt idx="4">
                  <c:v>10</c:v>
                </c:pt>
                <c:pt idx="5">
                  <c:v>17</c:v>
                </c:pt>
                <c:pt idx="6">
                  <c:v>1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36%p</c:v>
                  </c:pt>
                  <c:pt idx="1">
                    <c:v>16%</c:v>
                  </c:pt>
                  <c:pt idx="2">
                    <c:v>39%</c:v>
                  </c:pt>
                  <c:pt idx="3">
                    <c:v>30%q</c:v>
                  </c:pt>
                  <c:pt idx="4">
                    <c:v>10%</c:v>
                  </c:pt>
                  <c:pt idx="5">
                    <c:v>17%</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1</c:v>
                </c:pt>
                <c:pt idx="1">
                  <c:v>40</c:v>
                </c:pt>
                <c:pt idx="2">
                  <c:v>7</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8</c:v>
                </c:pt>
                <c:pt idx="2">
                  <c:v>5</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1%</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2</c:v>
                </c:pt>
                <c:pt idx="1">
                  <c:v>0.86</c:v>
                </c:pt>
                <c:pt idx="2">
                  <c:v>0.76</c:v>
                </c:pt>
                <c:pt idx="3">
                  <c:v>0.85</c:v>
                </c:pt>
                <c:pt idx="4">
                  <c:v>0.6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0A6C2A61-1423-43FE-A4F4-80037EEB5AD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EACCAA3E-E4CF-492D-999D-06843A02535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B535B485-6A52-4333-9639-B16F0BDF58D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9D5FE7FC-3AA8-4663-BC61-D63A6E26394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8</c:v>
                </c:pt>
                <c:pt idx="1">
                  <c:v>0.14000000000000001</c:v>
                </c:pt>
                <c:pt idx="2">
                  <c:v>0.24</c:v>
                </c:pt>
                <c:pt idx="3">
                  <c:v>0.15</c:v>
                </c:pt>
                <c:pt idx="4">
                  <c:v>0.3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86%</c:v>
                  </c:pt>
                  <c:pt idx="2">
                    <c:v>76%</c:v>
                  </c:pt>
                  <c:pt idx="3">
                    <c:v>85%</c:v>
                  </c:pt>
                  <c:pt idx="4">
                    <c:v>64%</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LONDON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LONDON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LONDON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LONDON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LONDON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NORTH EAST LONDON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010197494"/>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support from other people living with diabetes
Healthcare professionals providing support in taking part in physical activity
Healthcare professionals providing support with eating well
Healthcare professionals providing support with emotional and mental health need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4310691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876090407"/>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blood pressure check as part of their last annual review
Having a foot check as part of their last annual review
Having a smoking status review as part of their last annual review
Describing their experience at the last annual review as good</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95201066"/>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 EAST LOND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42436611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24600891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9% of respondents who were marked as Type 1 in the sample selected ‘Type 1’, 10% selected ‘Type 2’, 1% selected ‘Other’ and *% selected ‘I don’t know’ ​</a:t>
            </a:r>
          </a:p>
          <a:p>
            <a:pPr marL="171450" indent="-171450">
              <a:buFont typeface="Arial" panose="020B0604020202020204" pitchFamily="34" charset="0"/>
              <a:buChar char="•"/>
              <a:defRPr/>
            </a:pPr>
            <a:r>
              <a:rPr lang="en-GB" sz="1200" dirty="0">
                <a:solidFill>
                  <a:schemeClr val="tx1"/>
                </a:solidFill>
                <a:effectLst/>
              </a:rPr>
              <a:t>83% of respondents who were marked as Type 2 in the sample selected ‘Type 2’, 6% selected ‘Type 1’, 2% selected ‘Other’ and 9%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53); Type 2, ICS (525)).</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890803050"/>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854333430"/>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4284957226"/>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494453587"/>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87439644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00); Type 2, National (19,941), ICS (403))</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84995673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62312773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03); Type 2, National (22,278), ICS (473))</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93261843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71617209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279); Type 2, National (21,082), ICS (448))</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11544611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28429228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51); Type 2, National (24,180), ICS (518))</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852038166"/>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943041937"/>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741266907"/>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465732977"/>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67773268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22); Type 2, National (22,482), ICS (469))</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0365708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85879239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21077336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405137764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74483351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22078973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28950964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30535271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250271035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33); Type 2, National (22,670), ICS (473))</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93863626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71258112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265080330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145761872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47889475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408233487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8675470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49157628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94147256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50); Type 2, National (24,076), ICS (520))</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7443702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87166461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67290615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2910624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98469230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96799814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97499399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154563188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51); Type 2, National (24,153), ICS (524))</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332698260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70718255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7825888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91685208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422790329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93151465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3253098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02877787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62600281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49); Type 2, National (24,135), ICS (52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25811666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10155640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49973604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421716605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22576967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3894048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20135842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60610902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389406083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49); Type 2, National (24,084), ICS (52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28578395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20176514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59808197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33351346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26280662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164291594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90908149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18048867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6954016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48); Type 2, National (24,070), ICS (52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101506231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87823627"/>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372357156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745658487"/>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935533841"/>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414518037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712213989"/>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90909919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03663361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51); Type 2, National (24,260), ICS (525))</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84319538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79909742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82277514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71947736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49530500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75119914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29195321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195323634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93991367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53); Type 2, National (24,267), ICS (525))</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34523184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407599103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296951644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94400237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80930786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373231555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72615641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318182955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61954395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54); Type 2, National (24,196), ICS (526))</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119117116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31761925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69647534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51); Type 2, National (24,019), ICS (516))</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49226877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88717460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26); Type 2, National (11,860), ICS (210))</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91455728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30683772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38); Type 2, National (21,228), ICS (460))</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270762791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34105373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32); Type 2, National (20,915), ICS (466))</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20557148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61002296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25); Type 2, National (20,086), ICS (457))</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28321613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56783150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25); Type 2, National (21,890), ICS (466))</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210164886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00436866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08); Type 2, National (18,585), ICS (411))</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9498999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81350719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61289518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58856754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61598569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284360429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429395403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57520112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40); Type 2, National (22,580), ICS (472))</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45677765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483543343"/>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871957799"/>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947101086"/>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669715388"/>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89730084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75); Type 2, National (12,350), ICS (302))</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51189624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1656404394"/>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76363176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93834318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03864443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75730507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54916560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416276060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40); Type 2, National (10,911), ICS (24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7844131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831747864"/>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596767922"/>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55561750"/>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690625659"/>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580714051"/>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902432520"/>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28))</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4051635457"/>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011336672"/>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199775095"/>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739766794"/>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999453200"/>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418088590"/>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471))</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NORTH EAST LONDON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342</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882</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26%</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54</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28</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89</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2,053</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821556334"/>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569562291"/>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3653435535"/>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79923781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978603163"/>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415258526"/>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709847084"/>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 EAST LOND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164193614"/>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support from other people living with diabetes
Healthcare professionals providing support in taking medicine
Healthcare professionals providing support in taking part in physical activity
Healthcare professionals providing support with eating well
Healthcare professionals providing support with emotional and mental health need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7803495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858839811"/>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3982609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4</TotalTime>
  <Words>5416</Words>
  <Application>Microsoft Office PowerPoint</Application>
  <PresentationFormat>Widescreen</PresentationFormat>
  <Paragraphs>816</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Wingdings</vt:lpstr>
      <vt:lpstr>Arial Black</vt:lpstr>
      <vt:lpstr>Arial</vt:lpstr>
      <vt:lpstr>HelveticaNeueLT Std Lt Cn</vt:lpstr>
      <vt:lpstr>Arial (Body)</vt:lpstr>
      <vt:lpstr>Wingdings 3</vt:lpstr>
      <vt:lpstr>Roboto</vt:lpstr>
      <vt:lpstr>Segoe UI</vt:lpstr>
      <vt:lpstr>Barlow</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3</cp:revision>
  <cp:lastPrinted>2024-09-17T13:37:47Z</cp:lastPrinted>
  <dcterms:created xsi:type="dcterms:W3CDTF">2024-06-17T14:42:21Z</dcterms:created>
  <dcterms:modified xsi:type="dcterms:W3CDTF">2024-12-04T10:5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